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7" d="100"/>
          <a:sy n="67" d="100"/>
        </p:scale>
        <p:origin x="6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49880" y="1590207"/>
            <a:ext cx="49403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/Test Environments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Sandbox environments can be easily scaled up or torn down on demand in the Cloud and are prime candidates for migration. </a:t>
            </a:r>
          </a:p>
        </p:txBody>
      </p:sp>
      <p:sp>
        <p:nvSpPr>
          <p:cNvPr id="53" name="Rectangle 52"/>
          <p:cNvSpPr/>
          <p:nvPr/>
        </p:nvSpPr>
        <p:spPr>
          <a:xfrm>
            <a:off x="649704" y="2430644"/>
            <a:ext cx="4940503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requently Accessed Storage Archives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It can be more cost effective to host large storage volumes that do not require frequent or immediate acces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lang="en-AU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Amount of data 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When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a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 large amount of data is involved then cloud computing is the cost efficient approach. Consumers need not invest in additional hardware for extra data storage </a:t>
            </a:r>
            <a:endParaRPr lang="en-A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High volatility 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 Those applications which have a high degree of volatility are Cloud suitable as changes are easy and quick.</a:t>
            </a:r>
            <a:endParaRPr lang="en-A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lang="en-AU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 Degree of Integratio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 Applications with high degree of integration must be cloud- implemented due to its advantage of giving access to applications to multiple users from multiple devices</a:t>
            </a:r>
            <a:endParaRPr lang="en-A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kumimoji="0" lang="en-AU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sp>
        <p:nvSpPr>
          <p:cNvPr id="68" name="Rectangle 67"/>
          <p:cNvSpPr/>
          <p:nvPr/>
        </p:nvSpPr>
        <p:spPr>
          <a:xfrm>
            <a:off x="6593702" y="2446824"/>
            <a:ext cx="4952406" cy="2877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avily Integrated Applications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Applications that are heavily integrated will continue to require a high amount of communication or dependencies with their counterparts. In this case it is recommended that they remain together, be it in the Cloud or on premis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lang="en-AU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Customizatio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 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If applications need a high degree of customization then, it is not entirely possible in the SaaS environment in cloud computing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.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 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Data Sensitivity 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–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 I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Open Sans" panose="020B0606030504020204" pitchFamily="34" charset="0"/>
                <a:cs typeface="Arial"/>
              </a:rPr>
              <a:t> the Cloud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, extremely sensitive information can prove to be an inhibitor as the exact location of data may or may not be known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Open Sans" panose="020B0606030504020204" pitchFamily="34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6593702" y="1679656"/>
            <a:ext cx="4952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 Network Throughput Applications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Applications with high throughput requirements may see performance issues and latency if they are located away from their users.</a:t>
            </a:r>
          </a:p>
        </p:txBody>
      </p: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pic>
        <p:nvPicPr>
          <p:cNvPr id="5" name="table">
            <a:extLst>
              <a:ext uri="{FF2B5EF4-FFF2-40B4-BE49-F238E27FC236}">
                <a16:creationId xmlns:a16="http://schemas.microsoft.com/office/drawing/2014/main" id="{E2B5802B-DB1F-4ABC-A66F-A84081C9A9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542" y="1091449"/>
            <a:ext cx="10511818" cy="4332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</TotalTime>
  <Words>367</Words>
  <Application>Microsoft Office PowerPoint</Application>
  <PresentationFormat>Widescreen</PresentationFormat>
  <Paragraphs>2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Open Sans</vt:lpstr>
      <vt:lpstr>Segoe UI 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Naman Jain</cp:lastModifiedBy>
  <cp:revision>25</cp:revision>
  <dcterms:created xsi:type="dcterms:W3CDTF">2019-03-31T19:26:34Z</dcterms:created>
  <dcterms:modified xsi:type="dcterms:W3CDTF">2020-07-15T14:47:36Z</dcterms:modified>
</cp:coreProperties>
</file>